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7"/>
  </p:notesMasterIdLst>
  <p:handoutMasterIdLst>
    <p:handoutMasterId r:id="rId8"/>
  </p:handoutMasterIdLst>
  <p:sldIdLst>
    <p:sldId id="530" r:id="rId2"/>
    <p:sldId id="532" r:id="rId3"/>
    <p:sldId id="533" r:id="rId4"/>
    <p:sldId id="534" r:id="rId5"/>
    <p:sldId id="535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18">
          <p15:clr>
            <a:srgbClr val="A4A3A4"/>
          </p15:clr>
        </p15:guide>
        <p15:guide id="2" orient="horz" pos="2455">
          <p15:clr>
            <a:srgbClr val="A4A3A4"/>
          </p15:clr>
        </p15:guide>
        <p15:guide id="3" orient="horz" pos="2546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1116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4232">
          <p15:clr>
            <a:srgbClr val="A4A3A4"/>
          </p15:clr>
        </p15:guide>
        <p15:guide id="9" orient="horz" pos="3635">
          <p15:clr>
            <a:srgbClr val="A4A3A4"/>
          </p15:clr>
        </p15:guide>
        <p15:guide id="10" pos="340">
          <p15:clr>
            <a:srgbClr val="A4A3A4"/>
          </p15:clr>
        </p15:guide>
        <p15:guide id="11" pos="2880">
          <p15:clr>
            <a:srgbClr val="A4A3A4"/>
          </p15:clr>
        </p15:guide>
        <p15:guide id="12" pos="2971">
          <p15:clr>
            <a:srgbClr val="A4A3A4"/>
          </p15:clr>
        </p15:guide>
        <p15:guide id="13" pos="5511">
          <p15:clr>
            <a:srgbClr val="A4A3A4"/>
          </p15:clr>
        </p15:guide>
        <p15:guide id="14" pos="158">
          <p15:clr>
            <a:srgbClr val="A4A3A4"/>
          </p15:clr>
        </p15:guide>
        <p15:guide id="15" pos="460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17D98"/>
    <a:srgbClr val="55A0B9"/>
    <a:srgbClr val="D7D7CD"/>
    <a:srgbClr val="006487"/>
    <a:srgbClr val="EB780A"/>
    <a:srgbClr val="FFB900"/>
    <a:srgbClr val="641946"/>
    <a:srgbClr val="AF235F"/>
    <a:srgbClr val="647D2D"/>
    <a:srgbClr val="AAB4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30" autoAdjust="0"/>
    <p:restoredTop sz="71458" autoAdjust="0"/>
  </p:normalViewPr>
  <p:slideViewPr>
    <p:cSldViewPr snapToGrid="0" snapToObjects="1">
      <p:cViewPr>
        <p:scale>
          <a:sx n="170" d="100"/>
          <a:sy n="170" d="100"/>
        </p:scale>
        <p:origin x="1344" y="1134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-3180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Handout </a:t>
            </a:r>
            <a:fld id="{DD2939DC-3CD9-4A2E-98A6-53A4C1A937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/>
              <a:t>Memo </a:t>
            </a:r>
            <a:fld id="{1C4C1A90-3B38-4236-956E-B6B3038416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233746">
              <a:alpha val="65098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0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16463" y="1774582"/>
            <a:ext cx="4032250" cy="4715118"/>
          </a:xfrm>
          <a:solidFill>
            <a:srgbClr val="D7D7CD"/>
          </a:solidFill>
          <a:ln>
            <a:noFill/>
          </a:ln>
        </p:spPr>
        <p:txBody>
          <a:bodyPr vert="horz" wrap="square" lIns="252000" tIns="144000" rIns="180000" bIns="144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smtClean="0"/>
              <a:t>Click to edit Master text styles</a:t>
            </a:r>
          </a:p>
        </p:txBody>
      </p:sp>
      <p:pic>
        <p:nvPicPr>
          <p:cNvPr id="8" name="Grafik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811" r="4579"/>
          <a:stretch/>
        </p:blipFill>
        <p:spPr>
          <a:xfrm>
            <a:off x="541339" y="1774582"/>
            <a:ext cx="4019725" cy="4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959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5162557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330461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129" name="think-cell Folie" r:id="rId5" imgW="360" imgH="360" progId="">
              <p:embed/>
            </p:oleObj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xmlns="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74582"/>
            <a:ext cx="8208963" cy="4391268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kern="1400" baseline="0" smtClean="0"/>
            </a:lvl1pPr>
            <a:lvl2pPr>
              <a:defRPr lang="de-DE" kern="1400" smtClean="0">
                <a:cs typeface="+mn-cs"/>
              </a:defRPr>
            </a:lvl2pPr>
            <a:lvl3pPr>
              <a:defRPr lang="de-DE" kern="1400" smtClean="0">
                <a:cs typeface="+mn-cs"/>
              </a:defRPr>
            </a:lvl3pPr>
            <a:lvl4pPr>
              <a:defRPr lang="de-DE" kern="1400" smtClean="0">
                <a:cs typeface="+mn-cs"/>
              </a:defRPr>
            </a:lvl4pPr>
            <a:lvl5pPr>
              <a:defRPr lang="de-DE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6317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82089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135188"/>
            <a:ext cx="82089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357952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7180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663121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2638425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108700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135188"/>
            <a:ext cx="2638425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08700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324225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24225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3467180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180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397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47180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76636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3" name="Picture 3" descr="D:\Dropbox\Customization\NET\Siemens CT\input\140716\image8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117"/>
          <a:stretch/>
        </p:blipFill>
        <p:spPr bwMode="auto">
          <a:xfrm>
            <a:off x="4716463" y="1774825"/>
            <a:ext cx="4032250" cy="439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4716463" y="1774826"/>
            <a:ext cx="4032250" cy="439102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405345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 dirty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nnummernplatzhalter 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 dirty="0">
              <a:cs typeface="Arial" charset="0"/>
            </a:endParaRPr>
          </a:p>
        </p:txBody>
      </p:sp>
      <p:sp>
        <p:nvSpPr>
          <p:cNvPr id="16" name="Rectangle 16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aseline="0" noProof="0" dirty="0" smtClean="0">
                <a:cs typeface="Arial" charset="0"/>
              </a:rPr>
              <a:t>June  </a:t>
            </a:r>
            <a:r>
              <a:rPr lang="en-US" sz="1000" noProof="0" dirty="0" smtClean="0">
                <a:cs typeface="Arial" charset="0"/>
              </a:rPr>
              <a:t>2015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Corporate</a:t>
            </a:r>
            <a:r>
              <a:rPr lang="en-US" sz="1000" baseline="0" noProof="0" dirty="0" smtClean="0">
                <a:cs typeface="Arial" charset="0"/>
              </a:rPr>
              <a:t> Technology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1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1"/>
            <a:r>
              <a:rPr lang="en-US" dirty="0" smtClean="0"/>
              <a:t>2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smtClean="0"/>
              <a:t>3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smtClean="0"/>
              <a:t>4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smtClean="0"/>
              <a:t>5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6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6"/>
            <a:r>
              <a:rPr lang="en-US" dirty="0" smtClean="0"/>
              <a:t>7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7"/>
            <a:r>
              <a:rPr lang="en-US" dirty="0" smtClean="0"/>
              <a:t>8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8"/>
            <a:r>
              <a:rPr lang="en-US" dirty="0" smtClean="0"/>
              <a:t>9.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10" name="Rectangle 16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1" r:id="rId3"/>
    <p:sldLayoutId id="2147483684" r:id="rId4"/>
    <p:sldLayoutId id="2147483692" r:id="rId5"/>
    <p:sldLayoutId id="2147483691" r:id="rId6"/>
    <p:sldLayoutId id="2147483686" r:id="rId7"/>
    <p:sldLayoutId id="2147483687" r:id="rId8"/>
    <p:sldLayoutId id="2147483688" r:id="rId9"/>
    <p:sldLayoutId id="2147483694" r:id="rId10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lowchart: Process 40"/>
          <p:cNvSpPr/>
          <p:nvPr/>
        </p:nvSpPr>
        <p:spPr bwMode="auto">
          <a:xfrm>
            <a:off x="1" y="0"/>
            <a:ext cx="9144000" cy="6858000"/>
          </a:xfrm>
          <a:prstGeom prst="flowChartProcess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219792" y="2888900"/>
            <a:ext cx="2869508" cy="2756801"/>
          </a:xfrm>
          <a:prstGeom prst="ellipse">
            <a:avLst/>
          </a:prstGeom>
          <a:solidFill>
            <a:srgbClr val="55A0B9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Isosceles Triangle 7"/>
          <p:cNvSpPr/>
          <p:nvPr/>
        </p:nvSpPr>
        <p:spPr bwMode="auto">
          <a:xfrm rot="16200000">
            <a:off x="3778135" y="4601094"/>
            <a:ext cx="631767" cy="789709"/>
          </a:xfrm>
          <a:prstGeom prst="triangle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834937" y="3373049"/>
            <a:ext cx="1537855" cy="1271847"/>
            <a:chOff x="6783185" y="2286000"/>
            <a:chExt cx="1537855" cy="1271847"/>
          </a:xfrm>
        </p:grpSpPr>
        <p:sp>
          <p:nvSpPr>
            <p:cNvPr id="17" name="Flowchart: Terminator 16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381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" name="Flowchart: Process 17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4067695" y="3373049"/>
            <a:ext cx="1537855" cy="1271847"/>
            <a:chOff x="6783185" y="2286000"/>
            <a:chExt cx="1537855" cy="1271847"/>
          </a:xfrm>
        </p:grpSpPr>
        <p:sp>
          <p:nvSpPr>
            <p:cNvPr id="20" name="Flowchart: Terminator 19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381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Flowchart: Process 20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326777" y="3373049"/>
            <a:ext cx="1537855" cy="1271847"/>
            <a:chOff x="6783185" y="2286000"/>
            <a:chExt cx="1537855" cy="1271847"/>
          </a:xfrm>
        </p:grpSpPr>
        <p:sp>
          <p:nvSpPr>
            <p:cNvPr id="13" name="Flowchart: Terminator 12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381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4" name="Flowchart: Process 13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6" name="Rectangle 5"/>
          <p:cNvSpPr/>
          <p:nvPr/>
        </p:nvSpPr>
        <p:spPr bwMode="auto">
          <a:xfrm>
            <a:off x="3699164" y="3682538"/>
            <a:ext cx="1313411" cy="13134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488874" y="3682538"/>
            <a:ext cx="1629294" cy="1629294"/>
          </a:xfrm>
          <a:prstGeom prst="rect">
            <a:avLst/>
          </a:prstGeom>
          <a:solidFill>
            <a:schemeClr val="bg1"/>
          </a:solidFill>
          <a:ln w="38100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 bwMode="gray">
          <a:xfrm>
            <a:off x="4488873" y="4003573"/>
            <a:ext cx="162929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de-DE" sz="4000" dirty="0" smtClean="0">
                <a:solidFill>
                  <a:srgbClr val="55A0B9"/>
                </a:solidFill>
                <a:latin typeface="UniversS Euro 67 CondBold" pitchFamily="2" charset="0"/>
                <a:cs typeface="Arial" charset="0"/>
              </a:rPr>
              <a:t>SW360</a:t>
            </a:r>
            <a:endParaRPr lang="de-DE" sz="4000" dirty="0" smtClean="0">
              <a:solidFill>
                <a:srgbClr val="55A0B9"/>
              </a:solidFill>
              <a:latin typeface="UniversS Euro 67 CondBold" pitchFamily="2" charset="0"/>
              <a:cs typeface="Arial" charset="0"/>
            </a:endParaRPr>
          </a:p>
        </p:txBody>
      </p:sp>
      <p:sp>
        <p:nvSpPr>
          <p:cNvPr id="23" name="Snip Same Side Corner Rectangle 22"/>
          <p:cNvSpPr/>
          <p:nvPr/>
        </p:nvSpPr>
        <p:spPr bwMode="auto">
          <a:xfrm>
            <a:off x="4940532" y="4680064"/>
            <a:ext cx="795250" cy="315885"/>
          </a:xfrm>
          <a:prstGeom prst="snip2Same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3699164" y="3682538"/>
            <a:ext cx="2257136" cy="2922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>
            <a:stCxn id="13" idx="1"/>
          </p:cNvCxnSpPr>
          <p:nvPr/>
        </p:nvCxnSpPr>
        <p:spPr bwMode="auto">
          <a:xfrm>
            <a:off x="4326777" y="3547617"/>
            <a:ext cx="0" cy="136163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>
            <a:stCxn id="20" idx="1"/>
          </p:cNvCxnSpPr>
          <p:nvPr/>
        </p:nvCxnSpPr>
        <p:spPr bwMode="auto">
          <a:xfrm>
            <a:off x="4067695" y="3547617"/>
            <a:ext cx="352" cy="118230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3834937" y="3572554"/>
            <a:ext cx="1168" cy="112906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 flipV="1">
            <a:off x="4488874" y="3665847"/>
            <a:ext cx="0" cy="1668637"/>
          </a:xfrm>
          <a:prstGeom prst="line">
            <a:avLst/>
          </a:prstGeom>
          <a:solidFill>
            <a:schemeClr val="accent2"/>
          </a:solidFill>
          <a:ln w="381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Freeform 39"/>
          <p:cNvSpPr/>
          <p:nvPr/>
        </p:nvSpPr>
        <p:spPr bwMode="auto">
          <a:xfrm>
            <a:off x="3702479" y="5001151"/>
            <a:ext cx="1879288" cy="650739"/>
          </a:xfrm>
          <a:custGeom>
            <a:avLst/>
            <a:gdLst>
              <a:gd name="connsiteX0" fmla="*/ 0 w 1879288"/>
              <a:gd name="connsiteY0" fmla="*/ 0 h 650739"/>
              <a:gd name="connsiteX1" fmla="*/ 502078 w 1879288"/>
              <a:gd name="connsiteY1" fmla="*/ 580616 h 650739"/>
              <a:gd name="connsiteX2" fmla="*/ 639519 w 1879288"/>
              <a:gd name="connsiteY2" fmla="*/ 614275 h 650739"/>
              <a:gd name="connsiteX3" fmla="*/ 771349 w 1879288"/>
              <a:gd name="connsiteY3" fmla="*/ 642324 h 650739"/>
              <a:gd name="connsiteX4" fmla="*/ 978912 w 1879288"/>
              <a:gd name="connsiteY4" fmla="*/ 650739 h 650739"/>
              <a:gd name="connsiteX5" fmla="*/ 1105133 w 1879288"/>
              <a:gd name="connsiteY5" fmla="*/ 642324 h 650739"/>
              <a:gd name="connsiteX6" fmla="*/ 1312696 w 1879288"/>
              <a:gd name="connsiteY6" fmla="*/ 603055 h 650739"/>
              <a:gd name="connsiteX7" fmla="*/ 1480991 w 1879288"/>
              <a:gd name="connsiteY7" fmla="*/ 552567 h 650739"/>
              <a:gd name="connsiteX8" fmla="*/ 1601602 w 1879288"/>
              <a:gd name="connsiteY8" fmla="*/ 499274 h 650739"/>
              <a:gd name="connsiteX9" fmla="*/ 1725018 w 1879288"/>
              <a:gd name="connsiteY9" fmla="*/ 429151 h 650739"/>
              <a:gd name="connsiteX10" fmla="*/ 1834409 w 1879288"/>
              <a:gd name="connsiteY10" fmla="*/ 356223 h 650739"/>
              <a:gd name="connsiteX11" fmla="*/ 1879288 w 1879288"/>
              <a:gd name="connsiteY11" fmla="*/ 311345 h 650739"/>
              <a:gd name="connsiteX12" fmla="*/ 802203 w 1879288"/>
              <a:gd name="connsiteY12" fmla="*/ 311345 h 650739"/>
              <a:gd name="connsiteX13" fmla="*/ 771349 w 1879288"/>
              <a:gd name="connsiteY13" fmla="*/ 308540 h 650739"/>
              <a:gd name="connsiteX14" fmla="*/ 0 w 1879288"/>
              <a:gd name="connsiteY14" fmla="*/ 0 h 650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9288" h="650739">
                <a:moveTo>
                  <a:pt x="0" y="0"/>
                </a:moveTo>
                <a:lnTo>
                  <a:pt x="502078" y="580616"/>
                </a:lnTo>
                <a:lnTo>
                  <a:pt x="639519" y="614275"/>
                </a:lnTo>
                <a:lnTo>
                  <a:pt x="771349" y="642324"/>
                </a:lnTo>
                <a:lnTo>
                  <a:pt x="978912" y="650739"/>
                </a:lnTo>
                <a:lnTo>
                  <a:pt x="1105133" y="642324"/>
                </a:lnTo>
                <a:lnTo>
                  <a:pt x="1312696" y="603055"/>
                </a:lnTo>
                <a:lnTo>
                  <a:pt x="1480991" y="552567"/>
                </a:lnTo>
                <a:lnTo>
                  <a:pt x="1601602" y="499274"/>
                </a:lnTo>
                <a:lnTo>
                  <a:pt x="1725018" y="429151"/>
                </a:lnTo>
                <a:lnTo>
                  <a:pt x="1834409" y="356223"/>
                </a:lnTo>
                <a:lnTo>
                  <a:pt x="1879288" y="311345"/>
                </a:lnTo>
                <a:lnTo>
                  <a:pt x="802203" y="311345"/>
                </a:lnTo>
                <a:lnTo>
                  <a:pt x="771349" y="308540"/>
                </a:lnTo>
                <a:lnTo>
                  <a:pt x="0" y="0"/>
                </a:lnTo>
                <a:close/>
              </a:path>
            </a:pathLst>
          </a:custGeom>
          <a:solidFill>
            <a:srgbClr val="317D98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48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lowchart: Process 3"/>
          <p:cNvSpPr/>
          <p:nvPr/>
        </p:nvSpPr>
        <p:spPr bwMode="auto">
          <a:xfrm>
            <a:off x="1" y="0"/>
            <a:ext cx="9144000" cy="6858000"/>
          </a:xfrm>
          <a:prstGeom prst="flowChartProcess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057924" y="2232959"/>
            <a:ext cx="2869508" cy="2756801"/>
          </a:xfrm>
          <a:prstGeom prst="ellipse">
            <a:avLst/>
          </a:prstGeom>
          <a:solidFill>
            <a:srgbClr val="55A0B9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/>
        </p:nvSpPr>
        <p:spPr bwMode="auto">
          <a:xfrm rot="16200000">
            <a:off x="3616267" y="3945153"/>
            <a:ext cx="631767" cy="789709"/>
          </a:xfrm>
          <a:prstGeom prst="triangle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73069" y="2717108"/>
            <a:ext cx="1537855" cy="1271847"/>
            <a:chOff x="6783185" y="2286000"/>
            <a:chExt cx="1537855" cy="1271847"/>
          </a:xfrm>
        </p:grpSpPr>
        <p:sp>
          <p:nvSpPr>
            <p:cNvPr id="8" name="Flowchart: Terminator 7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lowchart: Process 8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05827" y="2717108"/>
            <a:ext cx="1537855" cy="1271847"/>
            <a:chOff x="6783185" y="2286000"/>
            <a:chExt cx="1537855" cy="1271847"/>
          </a:xfrm>
        </p:grpSpPr>
        <p:sp>
          <p:nvSpPr>
            <p:cNvPr id="11" name="Flowchart: Terminator 10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lowchart: Process 11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64909" y="2717108"/>
            <a:ext cx="1537855" cy="1271847"/>
            <a:chOff x="6783185" y="2286000"/>
            <a:chExt cx="1537855" cy="1271847"/>
          </a:xfrm>
        </p:grpSpPr>
        <p:sp>
          <p:nvSpPr>
            <p:cNvPr id="14" name="Flowchart: Terminator 13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lowchart: Process 14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Rectangle 15"/>
          <p:cNvSpPr/>
          <p:nvPr/>
        </p:nvSpPr>
        <p:spPr bwMode="auto">
          <a:xfrm>
            <a:off x="3537296" y="3026597"/>
            <a:ext cx="1313411" cy="13134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327006" y="3026597"/>
            <a:ext cx="1629294" cy="1629294"/>
          </a:xfrm>
          <a:prstGeom prst="rect">
            <a:avLst/>
          </a:prstGeom>
          <a:solidFill>
            <a:schemeClr val="bg1"/>
          </a:solidFill>
          <a:ln w="38100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4298137" y="3066243"/>
            <a:ext cx="177666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de-DE" sz="5400" dirty="0" smtClean="0">
                <a:solidFill>
                  <a:srgbClr val="55A0B9"/>
                </a:solidFill>
                <a:latin typeface="UniversS Euro 67 CondBold" pitchFamily="2" charset="0"/>
                <a:cs typeface="Arial" charset="0"/>
              </a:rPr>
              <a:t>360</a:t>
            </a:r>
            <a:endParaRPr lang="de-DE" sz="5400" dirty="0" smtClean="0">
              <a:solidFill>
                <a:srgbClr val="55A0B9"/>
              </a:solidFill>
              <a:latin typeface="UniversS Euro 67 CondBold" pitchFamily="2" charset="0"/>
              <a:cs typeface="Arial" charset="0"/>
            </a:endParaRPr>
          </a:p>
        </p:txBody>
      </p:sp>
      <p:sp>
        <p:nvSpPr>
          <p:cNvPr id="19" name="Snip Same Side Corner Rectangle 18"/>
          <p:cNvSpPr/>
          <p:nvPr/>
        </p:nvSpPr>
        <p:spPr bwMode="auto">
          <a:xfrm>
            <a:off x="4778664" y="4024123"/>
            <a:ext cx="795250" cy="315885"/>
          </a:xfrm>
          <a:prstGeom prst="snip2Same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3491576" y="3042499"/>
            <a:ext cx="2303434" cy="2922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>
            <a:stCxn id="14" idx="1"/>
          </p:cNvCxnSpPr>
          <p:nvPr/>
        </p:nvCxnSpPr>
        <p:spPr bwMode="auto">
          <a:xfrm>
            <a:off x="4164909" y="2891676"/>
            <a:ext cx="0" cy="136163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>
            <a:stCxn id="11" idx="1"/>
          </p:cNvCxnSpPr>
          <p:nvPr/>
        </p:nvCxnSpPr>
        <p:spPr bwMode="auto">
          <a:xfrm>
            <a:off x="3905827" y="2891676"/>
            <a:ext cx="352" cy="11823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3673069" y="2904329"/>
            <a:ext cx="1168" cy="112906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4327006" y="3009906"/>
            <a:ext cx="0" cy="1668637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reeform 24"/>
          <p:cNvSpPr/>
          <p:nvPr/>
        </p:nvSpPr>
        <p:spPr bwMode="auto">
          <a:xfrm>
            <a:off x="3540611" y="4345210"/>
            <a:ext cx="1879288" cy="650739"/>
          </a:xfrm>
          <a:custGeom>
            <a:avLst/>
            <a:gdLst>
              <a:gd name="connsiteX0" fmla="*/ 0 w 1879288"/>
              <a:gd name="connsiteY0" fmla="*/ 0 h 650739"/>
              <a:gd name="connsiteX1" fmla="*/ 502078 w 1879288"/>
              <a:gd name="connsiteY1" fmla="*/ 580616 h 650739"/>
              <a:gd name="connsiteX2" fmla="*/ 639519 w 1879288"/>
              <a:gd name="connsiteY2" fmla="*/ 614275 h 650739"/>
              <a:gd name="connsiteX3" fmla="*/ 771349 w 1879288"/>
              <a:gd name="connsiteY3" fmla="*/ 642324 h 650739"/>
              <a:gd name="connsiteX4" fmla="*/ 978912 w 1879288"/>
              <a:gd name="connsiteY4" fmla="*/ 650739 h 650739"/>
              <a:gd name="connsiteX5" fmla="*/ 1105133 w 1879288"/>
              <a:gd name="connsiteY5" fmla="*/ 642324 h 650739"/>
              <a:gd name="connsiteX6" fmla="*/ 1312696 w 1879288"/>
              <a:gd name="connsiteY6" fmla="*/ 603055 h 650739"/>
              <a:gd name="connsiteX7" fmla="*/ 1480991 w 1879288"/>
              <a:gd name="connsiteY7" fmla="*/ 552567 h 650739"/>
              <a:gd name="connsiteX8" fmla="*/ 1601602 w 1879288"/>
              <a:gd name="connsiteY8" fmla="*/ 499274 h 650739"/>
              <a:gd name="connsiteX9" fmla="*/ 1725018 w 1879288"/>
              <a:gd name="connsiteY9" fmla="*/ 429151 h 650739"/>
              <a:gd name="connsiteX10" fmla="*/ 1834409 w 1879288"/>
              <a:gd name="connsiteY10" fmla="*/ 356223 h 650739"/>
              <a:gd name="connsiteX11" fmla="*/ 1879288 w 1879288"/>
              <a:gd name="connsiteY11" fmla="*/ 311345 h 650739"/>
              <a:gd name="connsiteX12" fmla="*/ 802203 w 1879288"/>
              <a:gd name="connsiteY12" fmla="*/ 311345 h 650739"/>
              <a:gd name="connsiteX13" fmla="*/ 771349 w 1879288"/>
              <a:gd name="connsiteY13" fmla="*/ 308540 h 650739"/>
              <a:gd name="connsiteX14" fmla="*/ 0 w 1879288"/>
              <a:gd name="connsiteY14" fmla="*/ 0 h 650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9288" h="650739">
                <a:moveTo>
                  <a:pt x="0" y="0"/>
                </a:moveTo>
                <a:lnTo>
                  <a:pt x="502078" y="580616"/>
                </a:lnTo>
                <a:lnTo>
                  <a:pt x="639519" y="614275"/>
                </a:lnTo>
                <a:lnTo>
                  <a:pt x="771349" y="642324"/>
                </a:lnTo>
                <a:lnTo>
                  <a:pt x="978912" y="650739"/>
                </a:lnTo>
                <a:lnTo>
                  <a:pt x="1105133" y="642324"/>
                </a:lnTo>
                <a:lnTo>
                  <a:pt x="1312696" y="603055"/>
                </a:lnTo>
                <a:lnTo>
                  <a:pt x="1480991" y="552567"/>
                </a:lnTo>
                <a:lnTo>
                  <a:pt x="1601602" y="499274"/>
                </a:lnTo>
                <a:lnTo>
                  <a:pt x="1725018" y="429151"/>
                </a:lnTo>
                <a:lnTo>
                  <a:pt x="1834409" y="356223"/>
                </a:lnTo>
                <a:lnTo>
                  <a:pt x="1879288" y="311345"/>
                </a:lnTo>
                <a:lnTo>
                  <a:pt x="802203" y="311345"/>
                </a:lnTo>
                <a:lnTo>
                  <a:pt x="771349" y="30854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lowchart: Process 3"/>
          <p:cNvSpPr/>
          <p:nvPr/>
        </p:nvSpPr>
        <p:spPr bwMode="auto">
          <a:xfrm>
            <a:off x="1" y="0"/>
            <a:ext cx="9144000" cy="6858000"/>
          </a:xfrm>
          <a:prstGeom prst="flowChartProcess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057924" y="2232959"/>
            <a:ext cx="2869508" cy="2756801"/>
          </a:xfrm>
          <a:prstGeom prst="ellipse">
            <a:avLst/>
          </a:prstGeom>
          <a:solidFill>
            <a:srgbClr val="55A0B9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/>
        </p:nvSpPr>
        <p:spPr bwMode="auto">
          <a:xfrm rot="16200000">
            <a:off x="3616267" y="3945153"/>
            <a:ext cx="631767" cy="789709"/>
          </a:xfrm>
          <a:prstGeom prst="triangle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73069" y="2717108"/>
            <a:ext cx="1537855" cy="1271847"/>
            <a:chOff x="6783185" y="2286000"/>
            <a:chExt cx="1537855" cy="1271847"/>
          </a:xfrm>
        </p:grpSpPr>
        <p:sp>
          <p:nvSpPr>
            <p:cNvPr id="8" name="Flowchart: Terminator 7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lowchart: Process 8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05827" y="2717108"/>
            <a:ext cx="1537855" cy="1271847"/>
            <a:chOff x="6783185" y="2286000"/>
            <a:chExt cx="1537855" cy="1271847"/>
          </a:xfrm>
        </p:grpSpPr>
        <p:sp>
          <p:nvSpPr>
            <p:cNvPr id="11" name="Flowchart: Terminator 10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lowchart: Process 11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64909" y="2717108"/>
            <a:ext cx="1537855" cy="1271847"/>
            <a:chOff x="6783185" y="2286000"/>
            <a:chExt cx="1537855" cy="1271847"/>
          </a:xfrm>
        </p:grpSpPr>
        <p:sp>
          <p:nvSpPr>
            <p:cNvPr id="14" name="Flowchart: Terminator 13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lowchart: Process 14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Rectangle 15"/>
          <p:cNvSpPr/>
          <p:nvPr/>
        </p:nvSpPr>
        <p:spPr bwMode="auto">
          <a:xfrm>
            <a:off x="3537296" y="3026597"/>
            <a:ext cx="1313411" cy="13134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327006" y="3026597"/>
            <a:ext cx="1629294" cy="1629294"/>
          </a:xfrm>
          <a:prstGeom prst="rect">
            <a:avLst/>
          </a:prstGeom>
          <a:solidFill>
            <a:schemeClr val="bg1"/>
          </a:solidFill>
          <a:ln w="38100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4298137" y="3066243"/>
            <a:ext cx="177666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de-DE" sz="6000" b="1" dirty="0" smtClean="0">
                <a:solidFill>
                  <a:srgbClr val="55A0B9"/>
                </a:solidFill>
                <a:latin typeface="Arial Rounded MT Bold" pitchFamily="34" charset="0"/>
                <a:cs typeface="Arial" charset="0"/>
              </a:rPr>
              <a:t>360</a:t>
            </a:r>
            <a:endParaRPr lang="de-DE" sz="6000" b="1" dirty="0" smtClean="0">
              <a:solidFill>
                <a:srgbClr val="55A0B9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9" name="Snip Same Side Corner Rectangle 18"/>
          <p:cNvSpPr/>
          <p:nvPr/>
        </p:nvSpPr>
        <p:spPr bwMode="auto">
          <a:xfrm>
            <a:off x="4778664" y="4024123"/>
            <a:ext cx="795250" cy="315885"/>
          </a:xfrm>
          <a:prstGeom prst="snip2Same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3491576" y="3042499"/>
            <a:ext cx="2303434" cy="2922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>
            <a:stCxn id="14" idx="1"/>
          </p:cNvCxnSpPr>
          <p:nvPr/>
        </p:nvCxnSpPr>
        <p:spPr bwMode="auto">
          <a:xfrm>
            <a:off x="4164909" y="2891676"/>
            <a:ext cx="0" cy="136163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>
            <a:stCxn id="11" idx="1"/>
          </p:cNvCxnSpPr>
          <p:nvPr/>
        </p:nvCxnSpPr>
        <p:spPr bwMode="auto">
          <a:xfrm>
            <a:off x="3905827" y="2891676"/>
            <a:ext cx="352" cy="11823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3673069" y="2904329"/>
            <a:ext cx="1168" cy="112906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4327006" y="3009906"/>
            <a:ext cx="0" cy="1668637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reeform 24"/>
          <p:cNvSpPr/>
          <p:nvPr/>
        </p:nvSpPr>
        <p:spPr bwMode="auto">
          <a:xfrm>
            <a:off x="3540611" y="4345210"/>
            <a:ext cx="1879288" cy="650739"/>
          </a:xfrm>
          <a:custGeom>
            <a:avLst/>
            <a:gdLst>
              <a:gd name="connsiteX0" fmla="*/ 0 w 1879288"/>
              <a:gd name="connsiteY0" fmla="*/ 0 h 650739"/>
              <a:gd name="connsiteX1" fmla="*/ 502078 w 1879288"/>
              <a:gd name="connsiteY1" fmla="*/ 580616 h 650739"/>
              <a:gd name="connsiteX2" fmla="*/ 639519 w 1879288"/>
              <a:gd name="connsiteY2" fmla="*/ 614275 h 650739"/>
              <a:gd name="connsiteX3" fmla="*/ 771349 w 1879288"/>
              <a:gd name="connsiteY3" fmla="*/ 642324 h 650739"/>
              <a:gd name="connsiteX4" fmla="*/ 978912 w 1879288"/>
              <a:gd name="connsiteY4" fmla="*/ 650739 h 650739"/>
              <a:gd name="connsiteX5" fmla="*/ 1105133 w 1879288"/>
              <a:gd name="connsiteY5" fmla="*/ 642324 h 650739"/>
              <a:gd name="connsiteX6" fmla="*/ 1312696 w 1879288"/>
              <a:gd name="connsiteY6" fmla="*/ 603055 h 650739"/>
              <a:gd name="connsiteX7" fmla="*/ 1480991 w 1879288"/>
              <a:gd name="connsiteY7" fmla="*/ 552567 h 650739"/>
              <a:gd name="connsiteX8" fmla="*/ 1601602 w 1879288"/>
              <a:gd name="connsiteY8" fmla="*/ 499274 h 650739"/>
              <a:gd name="connsiteX9" fmla="*/ 1725018 w 1879288"/>
              <a:gd name="connsiteY9" fmla="*/ 429151 h 650739"/>
              <a:gd name="connsiteX10" fmla="*/ 1834409 w 1879288"/>
              <a:gd name="connsiteY10" fmla="*/ 356223 h 650739"/>
              <a:gd name="connsiteX11" fmla="*/ 1879288 w 1879288"/>
              <a:gd name="connsiteY11" fmla="*/ 311345 h 650739"/>
              <a:gd name="connsiteX12" fmla="*/ 802203 w 1879288"/>
              <a:gd name="connsiteY12" fmla="*/ 311345 h 650739"/>
              <a:gd name="connsiteX13" fmla="*/ 771349 w 1879288"/>
              <a:gd name="connsiteY13" fmla="*/ 308540 h 650739"/>
              <a:gd name="connsiteX14" fmla="*/ 0 w 1879288"/>
              <a:gd name="connsiteY14" fmla="*/ 0 h 650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9288" h="650739">
                <a:moveTo>
                  <a:pt x="0" y="0"/>
                </a:moveTo>
                <a:lnTo>
                  <a:pt x="502078" y="580616"/>
                </a:lnTo>
                <a:lnTo>
                  <a:pt x="639519" y="614275"/>
                </a:lnTo>
                <a:lnTo>
                  <a:pt x="771349" y="642324"/>
                </a:lnTo>
                <a:lnTo>
                  <a:pt x="978912" y="650739"/>
                </a:lnTo>
                <a:lnTo>
                  <a:pt x="1105133" y="642324"/>
                </a:lnTo>
                <a:lnTo>
                  <a:pt x="1312696" y="603055"/>
                </a:lnTo>
                <a:lnTo>
                  <a:pt x="1480991" y="552567"/>
                </a:lnTo>
                <a:lnTo>
                  <a:pt x="1601602" y="499274"/>
                </a:lnTo>
                <a:lnTo>
                  <a:pt x="1725018" y="429151"/>
                </a:lnTo>
                <a:lnTo>
                  <a:pt x="1834409" y="356223"/>
                </a:lnTo>
                <a:lnTo>
                  <a:pt x="1879288" y="311345"/>
                </a:lnTo>
                <a:lnTo>
                  <a:pt x="802203" y="311345"/>
                </a:lnTo>
                <a:lnTo>
                  <a:pt x="771349" y="30854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lowchart: Process 3"/>
          <p:cNvSpPr/>
          <p:nvPr/>
        </p:nvSpPr>
        <p:spPr bwMode="auto">
          <a:xfrm>
            <a:off x="1" y="0"/>
            <a:ext cx="9144000" cy="6858000"/>
          </a:xfrm>
          <a:prstGeom prst="flowChartProcess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057924" y="2232959"/>
            <a:ext cx="2869508" cy="2756801"/>
          </a:xfrm>
          <a:prstGeom prst="ellipse">
            <a:avLst/>
          </a:prstGeom>
          <a:solidFill>
            <a:srgbClr val="55A0B9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/>
        </p:nvSpPr>
        <p:spPr bwMode="auto">
          <a:xfrm rot="16200000">
            <a:off x="3616267" y="3945153"/>
            <a:ext cx="631767" cy="789709"/>
          </a:xfrm>
          <a:prstGeom prst="triangle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73069" y="2717108"/>
            <a:ext cx="1537855" cy="1271847"/>
            <a:chOff x="6783185" y="2286000"/>
            <a:chExt cx="1537855" cy="1271847"/>
          </a:xfrm>
        </p:grpSpPr>
        <p:sp>
          <p:nvSpPr>
            <p:cNvPr id="8" name="Flowchart: Terminator 7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lowchart: Process 8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05827" y="2717108"/>
            <a:ext cx="1537855" cy="1271847"/>
            <a:chOff x="6783185" y="2286000"/>
            <a:chExt cx="1537855" cy="1271847"/>
          </a:xfrm>
        </p:grpSpPr>
        <p:sp>
          <p:nvSpPr>
            <p:cNvPr id="11" name="Flowchart: Terminator 10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lowchart: Process 11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64909" y="2717108"/>
            <a:ext cx="1537855" cy="1271847"/>
            <a:chOff x="6783185" y="2286000"/>
            <a:chExt cx="1537855" cy="1271847"/>
          </a:xfrm>
        </p:grpSpPr>
        <p:sp>
          <p:nvSpPr>
            <p:cNvPr id="14" name="Flowchart: Terminator 13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lowchart: Process 14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Rectangle 15"/>
          <p:cNvSpPr/>
          <p:nvPr/>
        </p:nvSpPr>
        <p:spPr bwMode="auto">
          <a:xfrm>
            <a:off x="3537296" y="3026597"/>
            <a:ext cx="1313411" cy="13134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327006" y="3026597"/>
            <a:ext cx="1629294" cy="1629294"/>
          </a:xfrm>
          <a:prstGeom prst="rect">
            <a:avLst/>
          </a:prstGeom>
          <a:solidFill>
            <a:schemeClr val="bg1"/>
          </a:solidFill>
          <a:ln w="38100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4298137" y="3066243"/>
            <a:ext cx="177666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de-DE" sz="6000" dirty="0" smtClean="0">
                <a:solidFill>
                  <a:srgbClr val="55A0B9"/>
                </a:solidFill>
                <a:latin typeface="Berlin Sans FB Demi" pitchFamily="34" charset="0"/>
                <a:cs typeface="Arial" charset="0"/>
              </a:rPr>
              <a:t>360</a:t>
            </a:r>
            <a:endParaRPr lang="de-DE" sz="6000" dirty="0" smtClean="0">
              <a:solidFill>
                <a:srgbClr val="55A0B9"/>
              </a:solidFill>
              <a:latin typeface="Berlin Sans FB Demi" pitchFamily="34" charset="0"/>
              <a:cs typeface="Arial" charset="0"/>
            </a:endParaRPr>
          </a:p>
        </p:txBody>
      </p:sp>
      <p:sp>
        <p:nvSpPr>
          <p:cNvPr id="19" name="Snip Same Side Corner Rectangle 18"/>
          <p:cNvSpPr/>
          <p:nvPr/>
        </p:nvSpPr>
        <p:spPr bwMode="auto">
          <a:xfrm>
            <a:off x="4778664" y="4024123"/>
            <a:ext cx="795250" cy="315885"/>
          </a:xfrm>
          <a:prstGeom prst="snip2Same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3491576" y="3042499"/>
            <a:ext cx="2303434" cy="2922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>
            <a:stCxn id="14" idx="1"/>
          </p:cNvCxnSpPr>
          <p:nvPr/>
        </p:nvCxnSpPr>
        <p:spPr bwMode="auto">
          <a:xfrm>
            <a:off x="4164909" y="2891676"/>
            <a:ext cx="0" cy="136163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>
            <a:stCxn id="11" idx="1"/>
          </p:cNvCxnSpPr>
          <p:nvPr/>
        </p:nvCxnSpPr>
        <p:spPr bwMode="auto">
          <a:xfrm>
            <a:off x="3905827" y="2891676"/>
            <a:ext cx="352" cy="11823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3673069" y="2904329"/>
            <a:ext cx="1168" cy="112906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4327006" y="3009906"/>
            <a:ext cx="0" cy="1668637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reeform 24"/>
          <p:cNvSpPr/>
          <p:nvPr/>
        </p:nvSpPr>
        <p:spPr bwMode="auto">
          <a:xfrm>
            <a:off x="3540611" y="4345210"/>
            <a:ext cx="1879288" cy="650739"/>
          </a:xfrm>
          <a:custGeom>
            <a:avLst/>
            <a:gdLst>
              <a:gd name="connsiteX0" fmla="*/ 0 w 1879288"/>
              <a:gd name="connsiteY0" fmla="*/ 0 h 650739"/>
              <a:gd name="connsiteX1" fmla="*/ 502078 w 1879288"/>
              <a:gd name="connsiteY1" fmla="*/ 580616 h 650739"/>
              <a:gd name="connsiteX2" fmla="*/ 639519 w 1879288"/>
              <a:gd name="connsiteY2" fmla="*/ 614275 h 650739"/>
              <a:gd name="connsiteX3" fmla="*/ 771349 w 1879288"/>
              <a:gd name="connsiteY3" fmla="*/ 642324 h 650739"/>
              <a:gd name="connsiteX4" fmla="*/ 978912 w 1879288"/>
              <a:gd name="connsiteY4" fmla="*/ 650739 h 650739"/>
              <a:gd name="connsiteX5" fmla="*/ 1105133 w 1879288"/>
              <a:gd name="connsiteY5" fmla="*/ 642324 h 650739"/>
              <a:gd name="connsiteX6" fmla="*/ 1312696 w 1879288"/>
              <a:gd name="connsiteY6" fmla="*/ 603055 h 650739"/>
              <a:gd name="connsiteX7" fmla="*/ 1480991 w 1879288"/>
              <a:gd name="connsiteY7" fmla="*/ 552567 h 650739"/>
              <a:gd name="connsiteX8" fmla="*/ 1601602 w 1879288"/>
              <a:gd name="connsiteY8" fmla="*/ 499274 h 650739"/>
              <a:gd name="connsiteX9" fmla="*/ 1725018 w 1879288"/>
              <a:gd name="connsiteY9" fmla="*/ 429151 h 650739"/>
              <a:gd name="connsiteX10" fmla="*/ 1834409 w 1879288"/>
              <a:gd name="connsiteY10" fmla="*/ 356223 h 650739"/>
              <a:gd name="connsiteX11" fmla="*/ 1879288 w 1879288"/>
              <a:gd name="connsiteY11" fmla="*/ 311345 h 650739"/>
              <a:gd name="connsiteX12" fmla="*/ 802203 w 1879288"/>
              <a:gd name="connsiteY12" fmla="*/ 311345 h 650739"/>
              <a:gd name="connsiteX13" fmla="*/ 771349 w 1879288"/>
              <a:gd name="connsiteY13" fmla="*/ 308540 h 650739"/>
              <a:gd name="connsiteX14" fmla="*/ 0 w 1879288"/>
              <a:gd name="connsiteY14" fmla="*/ 0 h 650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9288" h="650739">
                <a:moveTo>
                  <a:pt x="0" y="0"/>
                </a:moveTo>
                <a:lnTo>
                  <a:pt x="502078" y="580616"/>
                </a:lnTo>
                <a:lnTo>
                  <a:pt x="639519" y="614275"/>
                </a:lnTo>
                <a:lnTo>
                  <a:pt x="771349" y="642324"/>
                </a:lnTo>
                <a:lnTo>
                  <a:pt x="978912" y="650739"/>
                </a:lnTo>
                <a:lnTo>
                  <a:pt x="1105133" y="642324"/>
                </a:lnTo>
                <a:lnTo>
                  <a:pt x="1312696" y="603055"/>
                </a:lnTo>
                <a:lnTo>
                  <a:pt x="1480991" y="552567"/>
                </a:lnTo>
                <a:lnTo>
                  <a:pt x="1601602" y="499274"/>
                </a:lnTo>
                <a:lnTo>
                  <a:pt x="1725018" y="429151"/>
                </a:lnTo>
                <a:lnTo>
                  <a:pt x="1834409" y="356223"/>
                </a:lnTo>
                <a:lnTo>
                  <a:pt x="1879288" y="311345"/>
                </a:lnTo>
                <a:lnTo>
                  <a:pt x="802203" y="311345"/>
                </a:lnTo>
                <a:lnTo>
                  <a:pt x="771349" y="30854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lowchart: Process 3"/>
          <p:cNvSpPr/>
          <p:nvPr/>
        </p:nvSpPr>
        <p:spPr bwMode="auto">
          <a:xfrm>
            <a:off x="1" y="0"/>
            <a:ext cx="9144000" cy="6858000"/>
          </a:xfrm>
          <a:prstGeom prst="flowChartProcess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3057924" y="2232959"/>
            <a:ext cx="2869508" cy="2756801"/>
          </a:xfrm>
          <a:prstGeom prst="ellipse">
            <a:avLst/>
          </a:prstGeom>
          <a:solidFill>
            <a:srgbClr val="55A0B9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Isosceles Triangle 5"/>
          <p:cNvSpPr/>
          <p:nvPr/>
        </p:nvSpPr>
        <p:spPr bwMode="auto">
          <a:xfrm rot="16200000">
            <a:off x="3616267" y="3945153"/>
            <a:ext cx="631767" cy="789709"/>
          </a:xfrm>
          <a:prstGeom prst="triangle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673069" y="2717108"/>
            <a:ext cx="1537855" cy="1271847"/>
            <a:chOff x="6783185" y="2286000"/>
            <a:chExt cx="1537855" cy="1271847"/>
          </a:xfrm>
        </p:grpSpPr>
        <p:sp>
          <p:nvSpPr>
            <p:cNvPr id="8" name="Flowchart: Terminator 7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Flowchart: Process 8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905827" y="2717108"/>
            <a:ext cx="1537855" cy="1271847"/>
            <a:chOff x="6783185" y="2286000"/>
            <a:chExt cx="1537855" cy="1271847"/>
          </a:xfrm>
        </p:grpSpPr>
        <p:sp>
          <p:nvSpPr>
            <p:cNvPr id="11" name="Flowchart: Terminator 10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2" name="Flowchart: Process 11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164909" y="2717108"/>
            <a:ext cx="1537855" cy="1271847"/>
            <a:chOff x="6783185" y="2286000"/>
            <a:chExt cx="1537855" cy="1271847"/>
          </a:xfrm>
        </p:grpSpPr>
        <p:sp>
          <p:nvSpPr>
            <p:cNvPr id="14" name="Flowchart: Terminator 13"/>
            <p:cNvSpPr/>
            <p:nvPr/>
          </p:nvSpPr>
          <p:spPr bwMode="auto">
            <a:xfrm>
              <a:off x="6783185" y="2286000"/>
              <a:ext cx="872837" cy="349135"/>
            </a:xfrm>
            <a:prstGeom prst="flowChartTerminator">
              <a:avLst/>
            </a:prstGeom>
            <a:solidFill>
              <a:schemeClr val="bg1"/>
            </a:solidFill>
            <a:ln w="76200" algn="ctr">
              <a:solidFill>
                <a:srgbClr val="55A0B9"/>
              </a:solidFill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5" name="Flowchart: Process 14"/>
            <p:cNvSpPr/>
            <p:nvPr/>
          </p:nvSpPr>
          <p:spPr bwMode="auto">
            <a:xfrm>
              <a:off x="6783185" y="2485505"/>
              <a:ext cx="1537855" cy="1072342"/>
            </a:xfrm>
            <a:prstGeom prst="flowChartProcess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square" lIns="144018" tIns="72009" rIns="72009" bIns="72009" rtlCol="0" anchor="ctr">
              <a:noAutofit/>
            </a:bodyPr>
            <a:lstStyle/>
            <a:p>
              <a:pPr marL="171450" indent="-171450" algn="l">
                <a:lnSpc>
                  <a:spcPct val="100000"/>
                </a:lnSpc>
                <a:buClr>
                  <a:srgbClr val="879BAA"/>
                </a:buClr>
                <a:buFont typeface="Arial" pitchFamily="34" charset="0"/>
                <a:buChar char="•"/>
              </a:pPr>
              <a:endParaRPr lang="de-DE" sz="1400" dirty="0" err="1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Rectangle 15"/>
          <p:cNvSpPr/>
          <p:nvPr/>
        </p:nvSpPr>
        <p:spPr bwMode="auto">
          <a:xfrm>
            <a:off x="3537296" y="3026597"/>
            <a:ext cx="1313411" cy="131341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4327006" y="3026597"/>
            <a:ext cx="1629294" cy="1629294"/>
          </a:xfrm>
          <a:prstGeom prst="rect">
            <a:avLst/>
          </a:prstGeom>
          <a:solidFill>
            <a:schemeClr val="bg1"/>
          </a:solidFill>
          <a:ln w="38100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 bwMode="gray">
          <a:xfrm>
            <a:off x="4298137" y="3066243"/>
            <a:ext cx="177666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</a:pPr>
            <a:r>
              <a:rPr lang="de-DE" sz="6000" dirty="0" smtClean="0">
                <a:solidFill>
                  <a:srgbClr val="55A0B9"/>
                </a:solidFill>
                <a:latin typeface="Berlin Sans FB Demi" pitchFamily="34" charset="0"/>
                <a:cs typeface="Arial" charset="0"/>
              </a:rPr>
              <a:t>360</a:t>
            </a:r>
            <a:endParaRPr lang="de-DE" sz="6000" dirty="0" smtClean="0">
              <a:solidFill>
                <a:srgbClr val="55A0B9"/>
              </a:solidFill>
              <a:latin typeface="Berlin Sans FB Demi" pitchFamily="34" charset="0"/>
              <a:cs typeface="Arial" charset="0"/>
            </a:endParaRPr>
          </a:p>
        </p:txBody>
      </p:sp>
      <p:sp>
        <p:nvSpPr>
          <p:cNvPr id="19" name="Snip Same Side Corner Rectangle 18"/>
          <p:cNvSpPr/>
          <p:nvPr/>
        </p:nvSpPr>
        <p:spPr bwMode="auto">
          <a:xfrm>
            <a:off x="4778664" y="4024123"/>
            <a:ext cx="795250" cy="315885"/>
          </a:xfrm>
          <a:prstGeom prst="snip2SameRect">
            <a:avLst/>
          </a:prstGeom>
          <a:solidFill>
            <a:srgbClr val="55A0B9"/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3491576" y="3042499"/>
            <a:ext cx="2303434" cy="2922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>
            <a:stCxn id="14" idx="1"/>
          </p:cNvCxnSpPr>
          <p:nvPr/>
        </p:nvCxnSpPr>
        <p:spPr bwMode="auto">
          <a:xfrm>
            <a:off x="4164909" y="2891676"/>
            <a:ext cx="0" cy="136163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>
            <a:stCxn id="11" idx="1"/>
          </p:cNvCxnSpPr>
          <p:nvPr/>
        </p:nvCxnSpPr>
        <p:spPr bwMode="auto">
          <a:xfrm>
            <a:off x="3905827" y="2891676"/>
            <a:ext cx="352" cy="118230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3673069" y="2904329"/>
            <a:ext cx="1168" cy="112906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 flipV="1">
            <a:off x="4327006" y="3009906"/>
            <a:ext cx="0" cy="1668637"/>
          </a:xfrm>
          <a:prstGeom prst="line">
            <a:avLst/>
          </a:prstGeom>
          <a:solidFill>
            <a:schemeClr val="accent2"/>
          </a:solidFill>
          <a:ln w="76200" cap="flat" cmpd="sng" algn="ctr">
            <a:solidFill>
              <a:srgbClr val="55A0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Freeform 24"/>
          <p:cNvSpPr/>
          <p:nvPr/>
        </p:nvSpPr>
        <p:spPr bwMode="auto">
          <a:xfrm>
            <a:off x="3540611" y="4345210"/>
            <a:ext cx="1879288" cy="650739"/>
          </a:xfrm>
          <a:custGeom>
            <a:avLst/>
            <a:gdLst>
              <a:gd name="connsiteX0" fmla="*/ 0 w 1879288"/>
              <a:gd name="connsiteY0" fmla="*/ 0 h 650739"/>
              <a:gd name="connsiteX1" fmla="*/ 502078 w 1879288"/>
              <a:gd name="connsiteY1" fmla="*/ 580616 h 650739"/>
              <a:gd name="connsiteX2" fmla="*/ 639519 w 1879288"/>
              <a:gd name="connsiteY2" fmla="*/ 614275 h 650739"/>
              <a:gd name="connsiteX3" fmla="*/ 771349 w 1879288"/>
              <a:gd name="connsiteY3" fmla="*/ 642324 h 650739"/>
              <a:gd name="connsiteX4" fmla="*/ 978912 w 1879288"/>
              <a:gd name="connsiteY4" fmla="*/ 650739 h 650739"/>
              <a:gd name="connsiteX5" fmla="*/ 1105133 w 1879288"/>
              <a:gd name="connsiteY5" fmla="*/ 642324 h 650739"/>
              <a:gd name="connsiteX6" fmla="*/ 1312696 w 1879288"/>
              <a:gd name="connsiteY6" fmla="*/ 603055 h 650739"/>
              <a:gd name="connsiteX7" fmla="*/ 1480991 w 1879288"/>
              <a:gd name="connsiteY7" fmla="*/ 552567 h 650739"/>
              <a:gd name="connsiteX8" fmla="*/ 1601602 w 1879288"/>
              <a:gd name="connsiteY8" fmla="*/ 499274 h 650739"/>
              <a:gd name="connsiteX9" fmla="*/ 1725018 w 1879288"/>
              <a:gd name="connsiteY9" fmla="*/ 429151 h 650739"/>
              <a:gd name="connsiteX10" fmla="*/ 1834409 w 1879288"/>
              <a:gd name="connsiteY10" fmla="*/ 356223 h 650739"/>
              <a:gd name="connsiteX11" fmla="*/ 1879288 w 1879288"/>
              <a:gd name="connsiteY11" fmla="*/ 311345 h 650739"/>
              <a:gd name="connsiteX12" fmla="*/ 802203 w 1879288"/>
              <a:gd name="connsiteY12" fmla="*/ 311345 h 650739"/>
              <a:gd name="connsiteX13" fmla="*/ 771349 w 1879288"/>
              <a:gd name="connsiteY13" fmla="*/ 308540 h 650739"/>
              <a:gd name="connsiteX14" fmla="*/ 0 w 1879288"/>
              <a:gd name="connsiteY14" fmla="*/ 0 h 650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9288" h="650739">
                <a:moveTo>
                  <a:pt x="0" y="0"/>
                </a:moveTo>
                <a:lnTo>
                  <a:pt x="502078" y="580616"/>
                </a:lnTo>
                <a:lnTo>
                  <a:pt x="639519" y="614275"/>
                </a:lnTo>
                <a:lnTo>
                  <a:pt x="771349" y="642324"/>
                </a:lnTo>
                <a:lnTo>
                  <a:pt x="978912" y="650739"/>
                </a:lnTo>
                <a:lnTo>
                  <a:pt x="1105133" y="642324"/>
                </a:lnTo>
                <a:lnTo>
                  <a:pt x="1312696" y="603055"/>
                </a:lnTo>
                <a:lnTo>
                  <a:pt x="1480991" y="552567"/>
                </a:lnTo>
                <a:lnTo>
                  <a:pt x="1601602" y="499274"/>
                </a:lnTo>
                <a:lnTo>
                  <a:pt x="1725018" y="429151"/>
                </a:lnTo>
                <a:lnTo>
                  <a:pt x="1834409" y="356223"/>
                </a:lnTo>
                <a:lnTo>
                  <a:pt x="1879288" y="311345"/>
                </a:lnTo>
                <a:lnTo>
                  <a:pt x="802203" y="311345"/>
                </a:lnTo>
                <a:lnTo>
                  <a:pt x="771349" y="30854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de-DE" sz="1400" dirty="0" err="1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91749713910000000000E+000&quot;&gt;&lt;m_ppcolschidx val=&quot;0&quot;/&gt;&lt;m_rgb r=&quot;ff&quot; g=&quot;b9&quot; b=&quot;0&quot;/&gt;&lt;/elem&gt;&lt;elem m_fUsage=&quot;2.94439690000000010000E+000&quot;&gt;&lt;m_ppcolschidx val=&quot;0&quot;/&gt;&lt;m_rgb r=&quot;af&quot; g=&quot;23&quot; b=&quot;5f&quot;/&gt;&lt;/elem&gt;&lt;elem m_fUsage=&quot;5.42578520639610100000E-001&quot;&gt;&lt;m_ppcolschidx val=&quot;0&quot;/&gt;&lt;m_rgb r=&quot;be&quot; g=&quot;cd&quot; b=&quot;d7&quot;/&gt;&lt;/elem&gt;&lt;elem m_fUsage=&quot;2.82429536481000170000E-001&quot;&gt;&lt;m_ppcolschidx val=&quot;0&quot;/&gt;&lt;m_rgb r=&quot;87&quot; g=&quot;9b&quot; b=&quot;aa&quot;/&gt;&lt;/elem&gt;&lt;elem m_fUsage=&quot;2.5418658283290013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85"/>
  <p:tag name="EE4P_STYLE_ID" val="20857096-870a-42a2-a11e-36364d9fac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heme/theme1.xml><?xml version="1.0" encoding="utf-8"?>
<a:theme xmlns:a="http://schemas.openxmlformats.org/drawingml/2006/main" name="blank">
  <a:themeElements>
    <a:clrScheme name="Custom 240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006487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</Words>
  <Application>Microsoft Office PowerPoint</Application>
  <PresentationFormat>On-screen Show (4:3)</PresentationFormat>
  <Paragraphs>5</Paragraphs>
  <Slides>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blank</vt:lpstr>
      <vt:lpstr>think-cell Folie</vt:lpstr>
      <vt:lpstr>Slide 1</vt:lpstr>
      <vt:lpstr>Slide 2</vt:lpstr>
      <vt:lpstr>Slide 3</vt:lpstr>
      <vt:lpstr>Slide 4</vt:lpstr>
      <vt:lpstr>Slide 5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Version 1 Arial Bold 40 pt.</dc:title>
  <dc:creator>Fujitsu Computer</dc:creator>
  <cp:lastModifiedBy>Fujitsu Computer</cp:lastModifiedBy>
  <cp:revision>24</cp:revision>
  <dcterms:created xsi:type="dcterms:W3CDTF">2016-12-21T09:41:39Z</dcterms:created>
  <dcterms:modified xsi:type="dcterms:W3CDTF">2016-12-21T13:3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766725718</vt:i4>
  </property>
  <property fmtid="{D5CDD505-2E9C-101B-9397-08002B2CF9AE}" pid="8" name="_EmailSubject">
    <vt:lpwstr>SW360 Logo Scribble Dribble: Erste Ideen</vt:lpwstr>
  </property>
  <property fmtid="{D5CDD505-2E9C-101B-9397-08002B2CF9AE}" pid="9" name="_AuthorEmail">
    <vt:lpwstr>michael.c.jaeger@siemens.com</vt:lpwstr>
  </property>
  <property fmtid="{D5CDD505-2E9C-101B-9397-08002B2CF9AE}" pid="10" name="_AuthorEmailDisplayName">
    <vt:lpwstr>Jaeger, Michael C. (CT BE&amp;QM OE SWE)</vt:lpwstr>
  </property>
  <property fmtid="{D5CDD505-2E9C-101B-9397-08002B2CF9AE}" pid="11" name="_PreviousAdHocReviewCycleID">
    <vt:i4>-1722567638</vt:i4>
  </property>
</Properties>
</file>